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261" r:id="rId2"/>
    <p:sldId id="414" r:id="rId3"/>
    <p:sldId id="415" r:id="rId4"/>
    <p:sldId id="416" r:id="rId5"/>
    <p:sldId id="417" r:id="rId6"/>
    <p:sldId id="418" r:id="rId7"/>
    <p:sldId id="419" r:id="rId8"/>
    <p:sldId id="420" r:id="rId9"/>
    <p:sldId id="421" r:id="rId10"/>
    <p:sldId id="422" r:id="rId11"/>
    <p:sldId id="423" r:id="rId12"/>
    <p:sldId id="424" r:id="rId13"/>
    <p:sldId id="425" r:id="rId14"/>
    <p:sldId id="426" r:id="rId15"/>
    <p:sldId id="427" r:id="rId16"/>
    <p:sldId id="428" r:id="rId17"/>
    <p:sldId id="429" r:id="rId18"/>
    <p:sldId id="430" r:id="rId19"/>
    <p:sldId id="431" r:id="rId20"/>
    <p:sldId id="432" r:id="rId21"/>
    <p:sldId id="433" r:id="rId22"/>
    <p:sldId id="434" r:id="rId23"/>
    <p:sldId id="435" r:id="rId24"/>
    <p:sldId id="436" r:id="rId25"/>
    <p:sldId id="437" r:id="rId26"/>
    <p:sldId id="438" r:id="rId27"/>
    <p:sldId id="439" r:id="rId28"/>
    <p:sldId id="440" r:id="rId29"/>
    <p:sldId id="441" r:id="rId30"/>
    <p:sldId id="442" r:id="rId31"/>
    <p:sldId id="443" r:id="rId32"/>
    <p:sldId id="444" r:id="rId33"/>
    <p:sldId id="445" r:id="rId34"/>
    <p:sldId id="446" r:id="rId35"/>
    <p:sldId id="447" r:id="rId36"/>
    <p:sldId id="448" r:id="rId37"/>
    <p:sldId id="449" r:id="rId38"/>
    <p:sldId id="450" r:id="rId39"/>
    <p:sldId id="451" r:id="rId40"/>
    <p:sldId id="452" r:id="rId41"/>
    <p:sldId id="453" r:id="rId42"/>
    <p:sldId id="454" r:id="rId43"/>
    <p:sldId id="455" r:id="rId44"/>
    <p:sldId id="456" r:id="rId45"/>
    <p:sldId id="457" r:id="rId46"/>
    <p:sldId id="458" r:id="rId47"/>
    <p:sldId id="459" r:id="rId48"/>
    <p:sldId id="460" r:id="rId49"/>
    <p:sldId id="461" r:id="rId50"/>
    <p:sldId id="462" r:id="rId51"/>
    <p:sldId id="463" r:id="rId5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11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70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4948233" y="6204230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902826" y="1382595"/>
            <a:ext cx="10386349" cy="2011680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7247" y="3540894"/>
            <a:ext cx="10177508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002619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D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547508" y="381422"/>
            <a:ext cx="2162843" cy="41867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4" name="Freeform 5"/>
          <p:cNvSpPr>
            <a:spLocks noChangeAspect="1" noEditPoints="1"/>
          </p:cNvSpPr>
          <p:nvPr userDrawn="1"/>
        </p:nvSpPr>
        <p:spPr bwMode="auto">
          <a:xfrm>
            <a:off x="6205728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94303" y="6190761"/>
            <a:ext cx="1271083" cy="429768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667318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57360" y="378059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930" y="1784351"/>
            <a:ext cx="8588452" cy="3982707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0443174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57360" y="378059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651" y="1784350"/>
            <a:ext cx="4145280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3091" y="1784350"/>
            <a:ext cx="4145280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7981064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3022967"/>
            <a:ext cx="7315200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6863737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3022967"/>
            <a:ext cx="7315200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383357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6257926"/>
            <a:ext cx="12192000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3022967"/>
            <a:ext cx="7315200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8597033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0063"/>
            <a:ext cx="9666451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3249287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0063"/>
            <a:ext cx="967852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74295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914400" indent="-165100">
              <a:buFont typeface="Arial" panose="020B0604020202020204" pitchFamily="34" charset="0"/>
              <a:buChar char="•"/>
              <a:defRPr/>
            </a:lvl7pPr>
            <a:lvl8pPr marL="1092200" indent="-177800">
              <a:buFont typeface="Arial" panose="020B0604020202020204" pitchFamily="34" charset="0"/>
              <a:buChar char="–"/>
              <a:defRPr/>
            </a:lvl8pPr>
            <a:lvl9pPr marL="1257300" indent="-16510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2131580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70064"/>
            <a:ext cx="5238479" cy="3978889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8609" y="1770064"/>
            <a:ext cx="5238479" cy="3978889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2073734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70063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85850" indent="-225425">
              <a:buFont typeface="Arial" panose="020B0604020202020204" pitchFamily="34" charset="0"/>
              <a:buChar char="–"/>
              <a:defRPr/>
            </a:lvl8pPr>
            <a:lvl9pPr marL="1203325" indent="-117475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6928" y="1770063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85850" indent="-225425">
              <a:buFont typeface="Arial" panose="020B0604020202020204" pitchFamily="34" charset="0"/>
              <a:buChar char="–"/>
              <a:defRPr/>
            </a:lvl8pPr>
            <a:lvl9pPr marL="1203325" indent="-117475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0832" y="1770063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85850" indent="-225425">
              <a:buFont typeface="Arial" panose="020B0604020202020204" pitchFamily="34" charset="0"/>
              <a:buChar char="–"/>
              <a:defRPr/>
            </a:lvl8pPr>
            <a:lvl9pPr marL="1203325" indent="-117475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584709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4948233" y="6204230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902826" y="1382595"/>
            <a:ext cx="10386349" cy="2011680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7247" y="3540894"/>
            <a:ext cx="10177508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40747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07762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7594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7425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811435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Journey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10583869" cy="71323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ive column journey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2567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9125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55684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52243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48800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29099876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70035" y="1752602"/>
            <a:ext cx="9051932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0077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4" y="1764793"/>
            <a:ext cx="7174287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037811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omparison slid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475" y="3838340"/>
            <a:ext cx="3493917" cy="1910612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57200" indent="-174625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80298" y="3838340"/>
            <a:ext cx="3493917" cy="1910612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457200" indent="-174625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0888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 userDrawn="1"/>
        </p:nvSpPr>
        <p:spPr>
          <a:xfrm>
            <a:off x="4062895" y="0"/>
            <a:ext cx="4058151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 userDrawn="1"/>
        </p:nvSpPr>
        <p:spPr>
          <a:xfrm>
            <a:off x="8121048" y="0"/>
            <a:ext cx="407095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4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992" y="3137284"/>
            <a:ext cx="2368913" cy="2611669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>
              <a:buClrTx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7514" y="3137284"/>
            <a:ext cx="2368913" cy="2611669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bg1"/>
                </a:solidFill>
              </a:defRPr>
            </a:lvl2pPr>
            <a:lvl3pPr>
              <a:buClrTx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 baseline="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72066" y="3137284"/>
            <a:ext cx="2368913" cy="2611669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>
              <a:buClrTx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4001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4953871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0063"/>
            <a:ext cx="4953872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768" y="0"/>
            <a:ext cx="6100232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44861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0"/>
            <a:ext cx="6091767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92901" y="530351"/>
            <a:ext cx="4881033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692900" y="1773581"/>
            <a:ext cx="4847249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7582584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8" y="530351"/>
            <a:ext cx="4953872" cy="71323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,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30" y="1773581"/>
            <a:ext cx="4953871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402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92900" y="530351"/>
            <a:ext cx="4881032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,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692901" y="1773581"/>
            <a:ext cx="488103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29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743595-4496-5147-A886-7D133864DF76}" type="slidenum">
              <a:rPr lang="en-US" sz="1000" b="1" smtClean="0">
                <a:solidFill>
                  <a:prstClr val="white"/>
                </a:solidFill>
                <a:latin typeface="Arial"/>
                <a:ea typeface="Open Sans" panose="020B0606030504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 b="1" dirty="0">
              <a:solidFill>
                <a:prstClr val="white"/>
              </a:solidFill>
              <a:latin typeface="Arial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1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t>©2020 Aetna Inc.</a:t>
            </a:r>
          </a:p>
        </p:txBody>
      </p:sp>
    </p:spTree>
    <p:extLst>
      <p:ext uri="{BB962C8B-B14F-4D97-AF65-F5344CB8AC3E}">
        <p14:creationId xmlns:p14="http://schemas.microsoft.com/office/powerpoint/2010/main" val="20969600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BE SURE IMAGE IS </a:t>
            </a:r>
            <a:br>
              <a:rPr lang="en-US" dirty="0"/>
            </a:br>
            <a:r>
              <a:rPr lang="en-US" dirty="0"/>
              <a:t>DARK ENOUGH SO TYPE AND </a:t>
            </a:r>
            <a:br>
              <a:rPr lang="en-US" dirty="0"/>
            </a:br>
            <a:r>
              <a:rPr lang="en-US" dirty="0"/>
              <a:t>LOGO ARE READABLE</a:t>
            </a:r>
          </a:p>
          <a:p>
            <a:br>
              <a:rPr lang="en-US" dirty="0"/>
            </a:br>
            <a:r>
              <a:rPr lang="en-US" dirty="0"/>
              <a:t>Be sure to send image to </a:t>
            </a:r>
            <a:br>
              <a:rPr lang="en-US" dirty="0"/>
            </a:br>
            <a:r>
              <a:rPr lang="en-US" dirty="0"/>
              <a:t>back so logo sits on top of 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1516927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3765543"/>
            <a:ext cx="3582951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9550016" y="6104647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5344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768" y="0"/>
            <a:ext cx="610023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1764792"/>
            <a:ext cx="4953872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930" y="3590383"/>
            <a:ext cx="4953871" cy="184912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592119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7" y="2180108"/>
            <a:ext cx="717076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9" y="402092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9231305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29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743595-4496-5147-A886-7D133864DF76}" type="slidenum">
              <a:rPr lang="en-US" sz="1000" b="1" smtClean="0">
                <a:solidFill>
                  <a:prstClr val="white"/>
                </a:solidFill>
                <a:latin typeface="Arial"/>
                <a:ea typeface="Open Sans" panose="020B0606030504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 b="1" dirty="0">
              <a:solidFill>
                <a:prstClr val="white"/>
              </a:solidFill>
              <a:latin typeface="Arial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1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t>©2020 Aetna Inc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7" y="2180108"/>
            <a:ext cx="7170764" cy="14630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9" y="402092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4439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499872" y="378059"/>
            <a:ext cx="536964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5104" y="2054488"/>
            <a:ext cx="2511552" cy="3694464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36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40224" y="2054488"/>
            <a:ext cx="2511552" cy="3694464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36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2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8768" y="2054488"/>
            <a:ext cx="2511552" cy="3694464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36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3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</p:txBody>
      </p:sp>
    </p:spTree>
    <p:extLst>
      <p:ext uri="{BB962C8B-B14F-4D97-AF65-F5344CB8AC3E}">
        <p14:creationId xmlns:p14="http://schemas.microsoft.com/office/powerpoint/2010/main" val="8515132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499873" y="378059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30" y="1770063"/>
            <a:ext cx="8588452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4488" indent="-173038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15938" indent="-171450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/>
            </a:lvl6pPr>
            <a:lvl7pPr marL="860425" indent="-173038">
              <a:buClrTx/>
              <a:buFont typeface="Arial" panose="020B0604020202020204" pitchFamily="34" charset="0"/>
              <a:buChar char="•"/>
              <a:defRPr baseline="0"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755703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960810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29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743595-4496-5147-A886-7D133864DF76}" type="slidenum">
              <a:rPr lang="en-US" sz="1000" b="1" smtClean="0">
                <a:solidFill>
                  <a:prstClr val="white"/>
                </a:solidFill>
                <a:latin typeface="Arial"/>
                <a:ea typeface="Open Sans" panose="020B0606030504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 b="1" dirty="0">
              <a:solidFill>
                <a:prstClr val="white"/>
              </a:solidFill>
              <a:latin typeface="Arial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1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t>©2020 Aetna Inc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7769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5136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3054037" y="2941079"/>
            <a:ext cx="6083929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b="1" dirty="0">
                <a:solidFill>
                  <a:srgbClr val="7D3F98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600871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BE SURE IMAGE IS </a:t>
            </a:r>
            <a:br>
              <a:rPr lang="en-US" dirty="0"/>
            </a:br>
            <a:r>
              <a:rPr lang="en-US" dirty="0"/>
              <a:t>DARK ENOUGH SO TYPE AND </a:t>
            </a:r>
            <a:br>
              <a:rPr lang="en-US" dirty="0"/>
            </a:br>
            <a:r>
              <a:rPr lang="en-US" dirty="0"/>
              <a:t>LOGO ARE READABLE</a:t>
            </a:r>
          </a:p>
          <a:p>
            <a:br>
              <a:rPr lang="en-US" dirty="0"/>
            </a:br>
            <a:r>
              <a:rPr lang="en-US" dirty="0"/>
              <a:t>Be sure to send image to </a:t>
            </a:r>
            <a:br>
              <a:rPr lang="en-US" dirty="0"/>
            </a:br>
            <a:r>
              <a:rPr lang="en-US" dirty="0"/>
              <a:t>back so logo sits on top of 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053571" y="1196075"/>
            <a:ext cx="4112940" cy="1444752"/>
          </a:xfrm>
        </p:spPr>
        <p:txBody>
          <a:bodyPr/>
          <a:lstStyle>
            <a:lvl1pPr algn="l">
              <a:lnSpc>
                <a:spcPct val="80000"/>
              </a:lnSpc>
              <a:spcBef>
                <a:spcPts val="0"/>
              </a:spcBef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osing slide</a:t>
            </a:r>
          </a:p>
        </p:txBody>
      </p:sp>
    </p:spTree>
    <p:extLst>
      <p:ext uri="{BB962C8B-B14F-4D97-AF65-F5344CB8AC3E}">
        <p14:creationId xmlns:p14="http://schemas.microsoft.com/office/powerpoint/2010/main" val="3842032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5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4948233" y="6204230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622402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tna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0" y="5779008"/>
            <a:ext cx="12192000" cy="1078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3032955" y="2928939"/>
            <a:ext cx="6053667" cy="896937"/>
          </a:xfrm>
          <a:custGeom>
            <a:avLst/>
            <a:gdLst>
              <a:gd name="T0" fmla="*/ 657 w 740"/>
              <a:gd name="T1" fmla="*/ 27 h 144"/>
              <a:gd name="T2" fmla="*/ 649 w 740"/>
              <a:gd name="T3" fmla="*/ 50 h 144"/>
              <a:gd name="T4" fmla="*/ 664 w 740"/>
              <a:gd name="T5" fmla="*/ 74 h 144"/>
              <a:gd name="T6" fmla="*/ 705 w 740"/>
              <a:gd name="T7" fmla="*/ 142 h 144"/>
              <a:gd name="T8" fmla="*/ 641 w 740"/>
              <a:gd name="T9" fmla="*/ 108 h 144"/>
              <a:gd name="T10" fmla="*/ 669 w 740"/>
              <a:gd name="T11" fmla="*/ 121 h 144"/>
              <a:gd name="T12" fmla="*/ 326 w 740"/>
              <a:gd name="T13" fmla="*/ 95 h 144"/>
              <a:gd name="T14" fmla="*/ 392 w 740"/>
              <a:gd name="T15" fmla="*/ 60 h 144"/>
              <a:gd name="T16" fmla="*/ 268 w 740"/>
              <a:gd name="T17" fmla="*/ 74 h 144"/>
              <a:gd name="T18" fmla="*/ 180 w 740"/>
              <a:gd name="T19" fmla="*/ 33 h 144"/>
              <a:gd name="T20" fmla="*/ 233 w 740"/>
              <a:gd name="T21" fmla="*/ 72 h 144"/>
              <a:gd name="T22" fmla="*/ 170 w 740"/>
              <a:gd name="T23" fmla="*/ 108 h 144"/>
              <a:gd name="T24" fmla="*/ 267 w 740"/>
              <a:gd name="T25" fmla="*/ 110 h 144"/>
              <a:gd name="T26" fmla="*/ 350 w 740"/>
              <a:gd name="T27" fmla="*/ 144 h 144"/>
              <a:gd name="T28" fmla="*/ 356 w 740"/>
              <a:gd name="T29" fmla="*/ 121 h 144"/>
              <a:gd name="T30" fmla="*/ 227 w 740"/>
              <a:gd name="T31" fmla="*/ 93 h 144"/>
              <a:gd name="T32" fmla="*/ 222 w 740"/>
              <a:gd name="T33" fmla="*/ 122 h 144"/>
              <a:gd name="T34" fmla="*/ 358 w 740"/>
              <a:gd name="T35" fmla="*/ 60 h 144"/>
              <a:gd name="T36" fmla="*/ 592 w 740"/>
              <a:gd name="T37" fmla="*/ 90 h 144"/>
              <a:gd name="T38" fmla="*/ 489 w 740"/>
              <a:gd name="T39" fmla="*/ 30 h 144"/>
              <a:gd name="T40" fmla="*/ 527 w 740"/>
              <a:gd name="T41" fmla="*/ 142 h 144"/>
              <a:gd name="T42" fmla="*/ 539 w 740"/>
              <a:gd name="T43" fmla="*/ 50 h 144"/>
              <a:gd name="T44" fmla="*/ 556 w 740"/>
              <a:gd name="T45" fmla="*/ 142 h 144"/>
              <a:gd name="T46" fmla="*/ 473 w 740"/>
              <a:gd name="T47" fmla="*/ 117 h 144"/>
              <a:gd name="T48" fmla="*/ 413 w 740"/>
              <a:gd name="T49" fmla="*/ 108 h 144"/>
              <a:gd name="T50" fmla="*/ 401 w 740"/>
              <a:gd name="T51" fmla="*/ 35 h 144"/>
              <a:gd name="T52" fmla="*/ 449 w 740"/>
              <a:gd name="T53" fmla="*/ 30 h 144"/>
              <a:gd name="T54" fmla="*/ 448 w 740"/>
              <a:gd name="T55" fmla="*/ 54 h 144"/>
              <a:gd name="T56" fmla="*/ 473 w 740"/>
              <a:gd name="T57" fmla="*/ 117 h 144"/>
              <a:gd name="T58" fmla="*/ 79 w 740"/>
              <a:gd name="T59" fmla="*/ 43 h 144"/>
              <a:gd name="T60" fmla="*/ 125 w 740"/>
              <a:gd name="T61" fmla="*/ 22 h 144"/>
              <a:gd name="T62" fmla="*/ 79 w 740"/>
              <a:gd name="T63" fmla="*/ 144 h 144"/>
              <a:gd name="T64" fmla="*/ 32 w 740"/>
              <a:gd name="T65" fmla="*/ 22 h 144"/>
              <a:gd name="T66" fmla="*/ 723 w 740"/>
              <a:gd name="T67" fmla="*/ 27 h 144"/>
              <a:gd name="T68" fmla="*/ 718 w 740"/>
              <a:gd name="T69" fmla="*/ 41 h 144"/>
              <a:gd name="T70" fmla="*/ 711 w 740"/>
              <a:gd name="T71" fmla="*/ 29 h 144"/>
              <a:gd name="T72" fmla="*/ 730 w 740"/>
              <a:gd name="T73" fmla="*/ 27 h 144"/>
              <a:gd name="T74" fmla="*/ 733 w 740"/>
              <a:gd name="T75" fmla="*/ 39 h 144"/>
              <a:gd name="T76" fmla="*/ 740 w 740"/>
              <a:gd name="T77" fmla="*/ 27 h 144"/>
              <a:gd name="T78" fmla="*/ 738 w 740"/>
              <a:gd name="T79" fmla="*/ 36 h 144"/>
              <a:gd name="T80" fmla="*/ 736 w 740"/>
              <a:gd name="T81" fmla="*/ 36 h 144"/>
              <a:gd name="T82" fmla="*/ 730 w 740"/>
              <a:gd name="T83" fmla="*/ 36 h 144"/>
              <a:gd name="T84" fmla="*/ 728 w 740"/>
              <a:gd name="T85" fmla="*/ 36 h 144"/>
              <a:gd name="T86" fmla="*/ 725 w 740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40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23" y="27"/>
                  <a:pt x="723" y="27"/>
                  <a:pt x="723" y="27"/>
                </a:cubicBezTo>
                <a:cubicBezTo>
                  <a:pt x="723" y="29"/>
                  <a:pt x="723" y="29"/>
                  <a:pt x="723" y="29"/>
                </a:cubicBezTo>
                <a:cubicBezTo>
                  <a:pt x="718" y="29"/>
                  <a:pt x="718" y="29"/>
                  <a:pt x="718" y="29"/>
                </a:cubicBezTo>
                <a:cubicBezTo>
                  <a:pt x="718" y="41"/>
                  <a:pt x="718" y="41"/>
                  <a:pt x="718" y="41"/>
                </a:cubicBezTo>
                <a:cubicBezTo>
                  <a:pt x="715" y="41"/>
                  <a:pt x="715" y="41"/>
                  <a:pt x="715" y="41"/>
                </a:cubicBezTo>
                <a:cubicBezTo>
                  <a:pt x="715" y="29"/>
                  <a:pt x="715" y="29"/>
                  <a:pt x="715" y="29"/>
                </a:cubicBezTo>
                <a:cubicBezTo>
                  <a:pt x="711" y="29"/>
                  <a:pt x="711" y="29"/>
                  <a:pt x="711" y="29"/>
                </a:cubicBezTo>
                <a:lnTo>
                  <a:pt x="711" y="27"/>
                </a:lnTo>
                <a:close/>
                <a:moveTo>
                  <a:pt x="725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1" y="33"/>
                  <a:pt x="731" y="33"/>
                  <a:pt x="731" y="33"/>
                </a:cubicBezTo>
                <a:cubicBezTo>
                  <a:pt x="732" y="35"/>
                  <a:pt x="733" y="39"/>
                  <a:pt x="733" y="39"/>
                </a:cubicBezTo>
                <a:cubicBezTo>
                  <a:pt x="733" y="39"/>
                  <a:pt x="733" y="39"/>
                  <a:pt x="733" y="39"/>
                </a:cubicBezTo>
                <a:cubicBezTo>
                  <a:pt x="733" y="39"/>
                  <a:pt x="734" y="35"/>
                  <a:pt x="734" y="33"/>
                </a:cubicBezTo>
                <a:cubicBezTo>
                  <a:pt x="736" y="27"/>
                  <a:pt x="736" y="27"/>
                  <a:pt x="736" y="27"/>
                </a:cubicBezTo>
                <a:cubicBezTo>
                  <a:pt x="740" y="27"/>
                  <a:pt x="740" y="27"/>
                  <a:pt x="740" y="27"/>
                </a:cubicBezTo>
                <a:cubicBezTo>
                  <a:pt x="740" y="41"/>
                  <a:pt x="740" y="41"/>
                  <a:pt x="740" y="41"/>
                </a:cubicBezTo>
                <a:cubicBezTo>
                  <a:pt x="738" y="41"/>
                  <a:pt x="738" y="41"/>
                  <a:pt x="738" y="41"/>
                </a:cubicBezTo>
                <a:cubicBezTo>
                  <a:pt x="738" y="36"/>
                  <a:pt x="738" y="36"/>
                  <a:pt x="738" y="36"/>
                </a:cubicBezTo>
                <a:cubicBezTo>
                  <a:pt x="738" y="33"/>
                  <a:pt x="738" y="29"/>
                  <a:pt x="738" y="29"/>
                </a:cubicBezTo>
                <a:cubicBezTo>
                  <a:pt x="738" y="29"/>
                  <a:pt x="738" y="29"/>
                  <a:pt x="738" y="29"/>
                </a:cubicBezTo>
                <a:cubicBezTo>
                  <a:pt x="738" y="29"/>
                  <a:pt x="737" y="33"/>
                  <a:pt x="736" y="36"/>
                </a:cubicBezTo>
                <a:cubicBezTo>
                  <a:pt x="734" y="41"/>
                  <a:pt x="734" y="41"/>
                  <a:pt x="734" y="41"/>
                </a:cubicBezTo>
                <a:cubicBezTo>
                  <a:pt x="732" y="41"/>
                  <a:pt x="732" y="41"/>
                  <a:pt x="732" y="41"/>
                </a:cubicBezTo>
                <a:cubicBezTo>
                  <a:pt x="730" y="36"/>
                  <a:pt x="730" y="36"/>
                  <a:pt x="730" y="36"/>
                </a:cubicBezTo>
                <a:cubicBezTo>
                  <a:pt x="729" y="33"/>
                  <a:pt x="728" y="29"/>
                  <a:pt x="728" y="29"/>
                </a:cubicBezTo>
                <a:cubicBezTo>
                  <a:pt x="728" y="29"/>
                  <a:pt x="728" y="29"/>
                  <a:pt x="728" y="29"/>
                </a:cubicBezTo>
                <a:cubicBezTo>
                  <a:pt x="728" y="29"/>
                  <a:pt x="728" y="33"/>
                  <a:pt x="728" y="36"/>
                </a:cubicBezTo>
                <a:cubicBezTo>
                  <a:pt x="728" y="41"/>
                  <a:pt x="728" y="41"/>
                  <a:pt x="728" y="41"/>
                </a:cubicBezTo>
                <a:cubicBezTo>
                  <a:pt x="725" y="41"/>
                  <a:pt x="725" y="41"/>
                  <a:pt x="725" y="41"/>
                </a:cubicBezTo>
                <a:lnTo>
                  <a:pt x="72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1187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tna logo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3032955" y="2928939"/>
            <a:ext cx="6053667" cy="896937"/>
          </a:xfrm>
          <a:custGeom>
            <a:avLst/>
            <a:gdLst>
              <a:gd name="T0" fmla="*/ 657 w 740"/>
              <a:gd name="T1" fmla="*/ 27 h 144"/>
              <a:gd name="T2" fmla="*/ 649 w 740"/>
              <a:gd name="T3" fmla="*/ 50 h 144"/>
              <a:gd name="T4" fmla="*/ 664 w 740"/>
              <a:gd name="T5" fmla="*/ 74 h 144"/>
              <a:gd name="T6" fmla="*/ 705 w 740"/>
              <a:gd name="T7" fmla="*/ 142 h 144"/>
              <a:gd name="T8" fmla="*/ 641 w 740"/>
              <a:gd name="T9" fmla="*/ 108 h 144"/>
              <a:gd name="T10" fmla="*/ 669 w 740"/>
              <a:gd name="T11" fmla="*/ 121 h 144"/>
              <a:gd name="T12" fmla="*/ 326 w 740"/>
              <a:gd name="T13" fmla="*/ 95 h 144"/>
              <a:gd name="T14" fmla="*/ 392 w 740"/>
              <a:gd name="T15" fmla="*/ 60 h 144"/>
              <a:gd name="T16" fmla="*/ 268 w 740"/>
              <a:gd name="T17" fmla="*/ 74 h 144"/>
              <a:gd name="T18" fmla="*/ 180 w 740"/>
              <a:gd name="T19" fmla="*/ 33 h 144"/>
              <a:gd name="T20" fmla="*/ 233 w 740"/>
              <a:gd name="T21" fmla="*/ 72 h 144"/>
              <a:gd name="T22" fmla="*/ 170 w 740"/>
              <a:gd name="T23" fmla="*/ 108 h 144"/>
              <a:gd name="T24" fmla="*/ 267 w 740"/>
              <a:gd name="T25" fmla="*/ 110 h 144"/>
              <a:gd name="T26" fmla="*/ 350 w 740"/>
              <a:gd name="T27" fmla="*/ 144 h 144"/>
              <a:gd name="T28" fmla="*/ 356 w 740"/>
              <a:gd name="T29" fmla="*/ 121 h 144"/>
              <a:gd name="T30" fmla="*/ 227 w 740"/>
              <a:gd name="T31" fmla="*/ 93 h 144"/>
              <a:gd name="T32" fmla="*/ 222 w 740"/>
              <a:gd name="T33" fmla="*/ 122 h 144"/>
              <a:gd name="T34" fmla="*/ 358 w 740"/>
              <a:gd name="T35" fmla="*/ 60 h 144"/>
              <a:gd name="T36" fmla="*/ 592 w 740"/>
              <a:gd name="T37" fmla="*/ 90 h 144"/>
              <a:gd name="T38" fmla="*/ 489 w 740"/>
              <a:gd name="T39" fmla="*/ 30 h 144"/>
              <a:gd name="T40" fmla="*/ 527 w 740"/>
              <a:gd name="T41" fmla="*/ 142 h 144"/>
              <a:gd name="T42" fmla="*/ 539 w 740"/>
              <a:gd name="T43" fmla="*/ 50 h 144"/>
              <a:gd name="T44" fmla="*/ 556 w 740"/>
              <a:gd name="T45" fmla="*/ 142 h 144"/>
              <a:gd name="T46" fmla="*/ 473 w 740"/>
              <a:gd name="T47" fmla="*/ 117 h 144"/>
              <a:gd name="T48" fmla="*/ 413 w 740"/>
              <a:gd name="T49" fmla="*/ 108 h 144"/>
              <a:gd name="T50" fmla="*/ 401 w 740"/>
              <a:gd name="T51" fmla="*/ 35 h 144"/>
              <a:gd name="T52" fmla="*/ 449 w 740"/>
              <a:gd name="T53" fmla="*/ 30 h 144"/>
              <a:gd name="T54" fmla="*/ 448 w 740"/>
              <a:gd name="T55" fmla="*/ 54 h 144"/>
              <a:gd name="T56" fmla="*/ 473 w 740"/>
              <a:gd name="T57" fmla="*/ 117 h 144"/>
              <a:gd name="T58" fmla="*/ 79 w 740"/>
              <a:gd name="T59" fmla="*/ 43 h 144"/>
              <a:gd name="T60" fmla="*/ 125 w 740"/>
              <a:gd name="T61" fmla="*/ 22 h 144"/>
              <a:gd name="T62" fmla="*/ 79 w 740"/>
              <a:gd name="T63" fmla="*/ 144 h 144"/>
              <a:gd name="T64" fmla="*/ 32 w 740"/>
              <a:gd name="T65" fmla="*/ 22 h 144"/>
              <a:gd name="T66" fmla="*/ 723 w 740"/>
              <a:gd name="T67" fmla="*/ 27 h 144"/>
              <a:gd name="T68" fmla="*/ 718 w 740"/>
              <a:gd name="T69" fmla="*/ 41 h 144"/>
              <a:gd name="T70" fmla="*/ 711 w 740"/>
              <a:gd name="T71" fmla="*/ 29 h 144"/>
              <a:gd name="T72" fmla="*/ 730 w 740"/>
              <a:gd name="T73" fmla="*/ 27 h 144"/>
              <a:gd name="T74" fmla="*/ 733 w 740"/>
              <a:gd name="T75" fmla="*/ 39 h 144"/>
              <a:gd name="T76" fmla="*/ 740 w 740"/>
              <a:gd name="T77" fmla="*/ 27 h 144"/>
              <a:gd name="T78" fmla="*/ 738 w 740"/>
              <a:gd name="T79" fmla="*/ 36 h 144"/>
              <a:gd name="T80" fmla="*/ 736 w 740"/>
              <a:gd name="T81" fmla="*/ 36 h 144"/>
              <a:gd name="T82" fmla="*/ 730 w 740"/>
              <a:gd name="T83" fmla="*/ 36 h 144"/>
              <a:gd name="T84" fmla="*/ 728 w 740"/>
              <a:gd name="T85" fmla="*/ 36 h 144"/>
              <a:gd name="T86" fmla="*/ 725 w 740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40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23" y="27"/>
                  <a:pt x="723" y="27"/>
                  <a:pt x="723" y="27"/>
                </a:cubicBezTo>
                <a:cubicBezTo>
                  <a:pt x="723" y="29"/>
                  <a:pt x="723" y="29"/>
                  <a:pt x="723" y="29"/>
                </a:cubicBezTo>
                <a:cubicBezTo>
                  <a:pt x="718" y="29"/>
                  <a:pt x="718" y="29"/>
                  <a:pt x="718" y="29"/>
                </a:cubicBezTo>
                <a:cubicBezTo>
                  <a:pt x="718" y="41"/>
                  <a:pt x="718" y="41"/>
                  <a:pt x="718" y="41"/>
                </a:cubicBezTo>
                <a:cubicBezTo>
                  <a:pt x="715" y="41"/>
                  <a:pt x="715" y="41"/>
                  <a:pt x="715" y="41"/>
                </a:cubicBezTo>
                <a:cubicBezTo>
                  <a:pt x="715" y="29"/>
                  <a:pt x="715" y="29"/>
                  <a:pt x="715" y="29"/>
                </a:cubicBezTo>
                <a:cubicBezTo>
                  <a:pt x="711" y="29"/>
                  <a:pt x="711" y="29"/>
                  <a:pt x="711" y="29"/>
                </a:cubicBezTo>
                <a:lnTo>
                  <a:pt x="711" y="27"/>
                </a:lnTo>
                <a:close/>
                <a:moveTo>
                  <a:pt x="725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1" y="33"/>
                  <a:pt x="731" y="33"/>
                  <a:pt x="731" y="33"/>
                </a:cubicBezTo>
                <a:cubicBezTo>
                  <a:pt x="732" y="35"/>
                  <a:pt x="733" y="39"/>
                  <a:pt x="733" y="39"/>
                </a:cubicBezTo>
                <a:cubicBezTo>
                  <a:pt x="733" y="39"/>
                  <a:pt x="733" y="39"/>
                  <a:pt x="733" y="39"/>
                </a:cubicBezTo>
                <a:cubicBezTo>
                  <a:pt x="733" y="39"/>
                  <a:pt x="734" y="35"/>
                  <a:pt x="734" y="33"/>
                </a:cubicBezTo>
                <a:cubicBezTo>
                  <a:pt x="736" y="27"/>
                  <a:pt x="736" y="27"/>
                  <a:pt x="736" y="27"/>
                </a:cubicBezTo>
                <a:cubicBezTo>
                  <a:pt x="740" y="27"/>
                  <a:pt x="740" y="27"/>
                  <a:pt x="740" y="27"/>
                </a:cubicBezTo>
                <a:cubicBezTo>
                  <a:pt x="740" y="41"/>
                  <a:pt x="740" y="41"/>
                  <a:pt x="740" y="41"/>
                </a:cubicBezTo>
                <a:cubicBezTo>
                  <a:pt x="738" y="41"/>
                  <a:pt x="738" y="41"/>
                  <a:pt x="738" y="41"/>
                </a:cubicBezTo>
                <a:cubicBezTo>
                  <a:pt x="738" y="36"/>
                  <a:pt x="738" y="36"/>
                  <a:pt x="738" y="36"/>
                </a:cubicBezTo>
                <a:cubicBezTo>
                  <a:pt x="738" y="33"/>
                  <a:pt x="738" y="29"/>
                  <a:pt x="738" y="29"/>
                </a:cubicBezTo>
                <a:cubicBezTo>
                  <a:pt x="738" y="29"/>
                  <a:pt x="738" y="29"/>
                  <a:pt x="738" y="29"/>
                </a:cubicBezTo>
                <a:cubicBezTo>
                  <a:pt x="738" y="29"/>
                  <a:pt x="737" y="33"/>
                  <a:pt x="736" y="36"/>
                </a:cubicBezTo>
                <a:cubicBezTo>
                  <a:pt x="734" y="41"/>
                  <a:pt x="734" y="41"/>
                  <a:pt x="734" y="41"/>
                </a:cubicBezTo>
                <a:cubicBezTo>
                  <a:pt x="732" y="41"/>
                  <a:pt x="732" y="41"/>
                  <a:pt x="732" y="41"/>
                </a:cubicBezTo>
                <a:cubicBezTo>
                  <a:pt x="730" y="36"/>
                  <a:pt x="730" y="36"/>
                  <a:pt x="730" y="36"/>
                </a:cubicBezTo>
                <a:cubicBezTo>
                  <a:pt x="729" y="33"/>
                  <a:pt x="728" y="29"/>
                  <a:pt x="728" y="29"/>
                </a:cubicBezTo>
                <a:cubicBezTo>
                  <a:pt x="728" y="29"/>
                  <a:pt x="728" y="29"/>
                  <a:pt x="728" y="29"/>
                </a:cubicBezTo>
                <a:cubicBezTo>
                  <a:pt x="728" y="29"/>
                  <a:pt x="728" y="33"/>
                  <a:pt x="728" y="36"/>
                </a:cubicBezTo>
                <a:cubicBezTo>
                  <a:pt x="728" y="41"/>
                  <a:pt x="728" y="41"/>
                  <a:pt x="728" y="41"/>
                </a:cubicBezTo>
                <a:cubicBezTo>
                  <a:pt x="725" y="41"/>
                  <a:pt x="725" y="41"/>
                  <a:pt x="725" y="41"/>
                </a:cubicBezTo>
                <a:lnTo>
                  <a:pt x="72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1181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793" y="388062"/>
            <a:ext cx="9457359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51324" y="1222520"/>
            <a:ext cx="1129448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745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9" descr="Violet (transparent background)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0347" y="6438903"/>
            <a:ext cx="536715" cy="14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450968" y="1222375"/>
            <a:ext cx="11294829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794" y="388063"/>
            <a:ext cx="9457359" cy="73161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319" y="1895473"/>
            <a:ext cx="9452851" cy="4343400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9B6A854-730C-4665-8218-F7FC6C903FF1}" type="datetime1">
              <a:rPr lang="en-US">
                <a:solidFill>
                  <a:srgbClr val="000000"/>
                </a:solidFill>
              </a:rPr>
              <a:pPr/>
              <a:t>8/24/20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apitol - For Internal Use Only - 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7892C99-7E50-4912-ABC8-E78F8BDEADF1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54020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793" y="388062"/>
            <a:ext cx="9457359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60242" y="1600200"/>
            <a:ext cx="9444909" cy="4636008"/>
          </a:xfrm>
        </p:spPr>
        <p:txBody>
          <a:bodyPr/>
          <a:lstStyle>
            <a:lvl1pPr>
              <a:spcBef>
                <a:spcPts val="1350"/>
              </a:spcBef>
              <a:defRPr sz="1350" b="1" i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0" indent="0">
              <a:spcBef>
                <a:spcPts val="900"/>
              </a:spcBef>
              <a:buFontTx/>
              <a:buNone/>
              <a:defRPr sz="1350"/>
            </a:lvl2pPr>
            <a:lvl3pPr marL="150059" indent="-150059">
              <a:spcBef>
                <a:spcPts val="450"/>
              </a:spcBef>
              <a:buFont typeface="Arial"/>
              <a:buChar char="•"/>
              <a:defRPr sz="1350"/>
            </a:lvl3pPr>
            <a:lvl4pPr marL="298927" indent="-150059">
              <a:buFont typeface="Lucida Grande"/>
              <a:buChar char="-"/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 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1324" y="1222520"/>
            <a:ext cx="1129448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328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392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2" y="5882600"/>
            <a:ext cx="10977033" cy="418596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footnotes if needed</a:t>
            </a:r>
          </a:p>
        </p:txBody>
      </p:sp>
    </p:spTree>
    <p:extLst>
      <p:ext uri="{BB962C8B-B14F-4D97-AF65-F5344CB8AC3E}">
        <p14:creationId xmlns:p14="http://schemas.microsoft.com/office/powerpoint/2010/main" val="2457213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4948233" y="6204230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561902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768" y="0"/>
            <a:ext cx="6100232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  <a:latin typeface="+mn-lt"/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7932" y="1077090"/>
            <a:ext cx="5078753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1" y="3325706"/>
            <a:ext cx="5078755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47509" y="6016711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229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A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5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8" name="Freeform 5"/>
          <p:cNvSpPr>
            <a:spLocks noChangeAspect="1" noEditPoints="1"/>
          </p:cNvSpPr>
          <p:nvPr userDrawn="1"/>
        </p:nvSpPr>
        <p:spPr bwMode="auto">
          <a:xfrm>
            <a:off x="4413504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6237754" y="6192974"/>
            <a:ext cx="1271083" cy="420624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21122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B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5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20" name="Freeform 5"/>
          <p:cNvSpPr>
            <a:spLocks noChangeAspect="1" noEditPoints="1"/>
          </p:cNvSpPr>
          <p:nvPr userDrawn="1"/>
        </p:nvSpPr>
        <p:spPr bwMode="auto">
          <a:xfrm>
            <a:off x="6205728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94303" y="6190761"/>
            <a:ext cx="1271083" cy="429768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6638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C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547508" y="381422"/>
            <a:ext cx="2162843" cy="41867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5" name="Freeform 5"/>
          <p:cNvSpPr>
            <a:spLocks noChangeAspect="1" noEditPoints="1"/>
          </p:cNvSpPr>
          <p:nvPr userDrawn="1"/>
        </p:nvSpPr>
        <p:spPr bwMode="auto">
          <a:xfrm>
            <a:off x="4413504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6237754" y="6192974"/>
            <a:ext cx="1271083" cy="420624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239263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30" y="530351"/>
            <a:ext cx="9667725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30" y="1785938"/>
            <a:ext cx="9642308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851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1125">
          <p15:clr>
            <a:srgbClr val="F26B43"/>
          </p15:clr>
        </p15:guide>
        <p15:guide id="5" orient="horz" pos="3631">
          <p15:clr>
            <a:srgbClr val="F26B43"/>
          </p15:clr>
        </p15:guide>
        <p15:guide id="6" orient="horz" pos="411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labama </a:t>
            </a:r>
            <a:r>
              <a:rPr lang="en-US" sz="2800" dirty="0">
                <a:solidFill>
                  <a:schemeClr val="tx1"/>
                </a:solidFill>
              </a:rPr>
              <a:t>– Region 1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99059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D3E1988B-2171-464C-A23B-851A0698AFB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40855720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2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31083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Florida </a:t>
            </a:r>
            <a:r>
              <a:rPr lang="en-US" sz="2800" dirty="0">
                <a:solidFill>
                  <a:schemeClr val="tx1"/>
                </a:solidFill>
              </a:rPr>
              <a:t>– Region 1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5886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5A102-16E7-44ED-8221-3C1567BCF6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AFF24B56-6BC8-4DBE-8921-9A7D9D3C35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9517405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3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14064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Georgia </a:t>
            </a:r>
            <a:r>
              <a:rPr lang="en-US" sz="2800" dirty="0">
                <a:solidFill>
                  <a:schemeClr val="tx1"/>
                </a:solidFill>
              </a:rPr>
              <a:t>– Region 1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5886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62D410-38CC-4F1B-8707-853E83C318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CC3CC26F-AFDB-48E6-90F2-335FF7297C1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0104469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91812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Hawaii </a:t>
            </a:r>
            <a:r>
              <a:rPr lang="en-US" sz="2800" dirty="0">
                <a:solidFill>
                  <a:schemeClr val="tx1"/>
                </a:solidFill>
              </a:rPr>
              <a:t>– Region 3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2872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4F2B10-27B7-4CE2-A63C-B718F8CDE4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D68A04E3-D47C-4756-8BE6-D02CB820D92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82221598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8192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daho </a:t>
            </a:r>
            <a:r>
              <a:rPr lang="en-US" sz="2800" dirty="0">
                <a:solidFill>
                  <a:schemeClr val="tx1"/>
                </a:solidFill>
              </a:rPr>
              <a:t>– Region 3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38769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2DD8F8-8FC6-4374-8054-BA0FAF7C48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FEEFE1F9-1190-4C62-8C6B-0FCFCC9FC37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6441595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9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02973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llinois </a:t>
            </a:r>
            <a:r>
              <a:rPr lang="en-US" sz="2800" dirty="0">
                <a:solidFill>
                  <a:schemeClr val="tx1"/>
                </a:solidFill>
              </a:rPr>
              <a:t>– Region 17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2872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852D9E-2B75-41EA-B487-3019FE940F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F0F9B607-F7C4-45DE-AA15-67257712FC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4261236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9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65126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ndiana </a:t>
            </a:r>
            <a:r>
              <a:rPr lang="en-US" sz="2800" dirty="0">
                <a:solidFill>
                  <a:schemeClr val="tx1"/>
                </a:solidFill>
              </a:rPr>
              <a:t>– Region 1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68914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C3E019-5626-493E-9032-0A4D72EA5F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0A9C37C-8AC0-4737-9F86-83D822F9CA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9067462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9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86329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ow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48817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E30F13-EB18-4A30-B163-D18E40C32F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5CB6119C-5486-4976-9C74-EAAD9A71C8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9109165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52093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Kansas </a:t>
            </a:r>
            <a:r>
              <a:rPr lang="en-US" sz="2800" dirty="0">
                <a:solidFill>
                  <a:schemeClr val="tx1"/>
                </a:solidFill>
              </a:rPr>
              <a:t>– Region 2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2872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E53B47-4EDE-4E17-9D2F-F4DB57636C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3D89A271-516A-4E42-9EC9-3CAD93DB012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6910166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3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29622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Kentucky </a:t>
            </a:r>
            <a:r>
              <a:rPr lang="en-US" sz="2800" dirty="0">
                <a:solidFill>
                  <a:schemeClr val="tx1"/>
                </a:solidFill>
              </a:rPr>
              <a:t>– Region 1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5886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B898C8-6A1B-4CCD-B14E-0777681EFF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1216FFFF-5C4C-47FC-867D-25C23C8229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1460582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9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00465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Louisiana </a:t>
            </a:r>
            <a:r>
              <a:rPr lang="en-US" sz="2800" dirty="0">
                <a:solidFill>
                  <a:schemeClr val="tx1"/>
                </a:solidFill>
              </a:rPr>
              <a:t>– Region 2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38769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A051F6-BD9C-462E-9397-5D70AB8330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CC653A8A-66E6-4A26-83B6-8FDB7C7E60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8705919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3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6328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laska </a:t>
            </a:r>
            <a:r>
              <a:rPr lang="en-US" sz="2800" dirty="0">
                <a:solidFill>
                  <a:schemeClr val="tx1"/>
                </a:solidFill>
              </a:rPr>
              <a:t>– Region 3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48817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478B87-0CD5-4232-A3D8-2047DAD40A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FD686062-4E4C-4470-975B-F011485C1C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6732553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9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7303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aine </a:t>
            </a:r>
            <a:r>
              <a:rPr lang="en-US" sz="2800" dirty="0">
                <a:solidFill>
                  <a:schemeClr val="tx1"/>
                </a:solidFill>
              </a:rPr>
              <a:t>– Region 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2872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324443-A857-4A7A-ABD7-E63C06AD04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11D8FC40-44AB-47EF-8A72-0094E93305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977794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9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76855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aryland </a:t>
            </a:r>
            <a:r>
              <a:rPr lang="en-US" sz="2800" dirty="0">
                <a:solidFill>
                  <a:schemeClr val="tx1"/>
                </a:solidFill>
              </a:rPr>
              <a:t>– Region 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2872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C87CB15-9A89-430E-8332-0A766D2E43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1D7540C5-267A-4B7E-BF8F-B8D2089A0CC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4472301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2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53409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assachusetts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5886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B2E1957-C134-482C-B329-5FFA58A2CD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24DEAB4C-084B-42D6-970C-A334A2BE3D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8896555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3441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chigan </a:t>
            </a:r>
            <a:r>
              <a:rPr lang="en-US" sz="2800" dirty="0">
                <a:solidFill>
                  <a:schemeClr val="tx1"/>
                </a:solidFill>
              </a:rPr>
              <a:t>– Region 1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48817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5C7269-DE55-406F-81E1-CD7DDA46F2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B7BF89A5-1BFF-45FF-AA5B-E6A0231E279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1153831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82027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nnesot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5886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9059E9-A2DD-4333-AE30-1C3B20B943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1745212F-C0C7-4277-AD3F-30732BC0FCF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72490577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84029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ssissippi </a:t>
            </a:r>
            <a:r>
              <a:rPr lang="en-US" sz="2800" dirty="0">
                <a:solidFill>
                  <a:schemeClr val="tx1"/>
                </a:solidFill>
              </a:rPr>
              <a:t>– Region 2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48817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38A00C-8016-4327-BF6F-FA0E9AA722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5523B2CE-E58A-4F18-B321-4BFFB083C7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6677229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3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43756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ssouri</a:t>
            </a:r>
            <a:r>
              <a:rPr lang="en-US" sz="2800" dirty="0">
                <a:solidFill>
                  <a:schemeClr val="tx1"/>
                </a:solidFill>
              </a:rPr>
              <a:t>– Region 18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48817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0312BA-F872-4D07-B278-E92B17CE37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92A6AF9F-4554-415A-A1C4-2C90C1719B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8437662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9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5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95085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ontan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5886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1BD45E-6F59-4391-8797-B82CCFAF4C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2820A51-64E5-443B-96FD-2AD09E4DA7D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16746261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49955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brask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68914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87C4541-25A0-48FE-BD92-8361004FF3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315FA06E-B8FF-47AD-A11B-A4AFE699E4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2547863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19105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vada </a:t>
            </a:r>
            <a:r>
              <a:rPr lang="en-US" sz="2800" dirty="0">
                <a:solidFill>
                  <a:schemeClr val="tx1"/>
                </a:solidFill>
              </a:rPr>
              <a:t>– Region 29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68914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97CEB4-1DFD-494A-8C65-9198F7C75F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B24CF728-56B3-42DB-8786-31887643DC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9312094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2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54750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rizona </a:t>
            </a:r>
            <a:r>
              <a:rPr lang="en-US" sz="2800" dirty="0">
                <a:solidFill>
                  <a:schemeClr val="tx1"/>
                </a:solidFill>
              </a:rPr>
              <a:t>– Region 28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47828"/>
            <a:ext cx="2038769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D43BB942-CDFB-4A31-94C0-26337386DD6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15308242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9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446664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Hampshire </a:t>
            </a:r>
            <a:r>
              <a:rPr lang="en-US" sz="2800" dirty="0">
                <a:solidFill>
                  <a:schemeClr val="tx1"/>
                </a:solidFill>
              </a:rPr>
              <a:t>– Region 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68914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CD57536-6812-43E7-A01B-D9A9DE5A24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5F95E27-1398-4CB6-9BA6-2B9A76226F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7323097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9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1754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Jersey </a:t>
            </a:r>
            <a:r>
              <a:rPr lang="en-US" sz="2800" dirty="0">
                <a:solidFill>
                  <a:schemeClr val="tx1"/>
                </a:solidFill>
              </a:rPr>
              <a:t>– Region 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157162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CABECF-BE59-43CC-935D-1D4D2D1CB0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DA38FB82-F41C-45A9-8B05-9A76E11463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1063702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2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74471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Mexico </a:t>
            </a:r>
            <a:r>
              <a:rPr lang="en-US" sz="2800" dirty="0">
                <a:solidFill>
                  <a:schemeClr val="tx1"/>
                </a:solidFill>
              </a:rPr>
              <a:t>– Region 2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48817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A8BB60-CEA4-4838-B61A-DB9516FB14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1F17EAF3-1D65-40D6-A662-C26D497DF1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7687169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9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54397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York </a:t>
            </a:r>
            <a:r>
              <a:rPr lang="en-US" sz="2800" dirty="0">
                <a:solidFill>
                  <a:schemeClr val="tx1"/>
                </a:solidFill>
              </a:rPr>
              <a:t>– Region 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78962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9E49F5-E304-4A75-A261-83BA4A2F39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50C45C5-1B50-4BFE-8633-00F0C49D2B1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6974847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31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3% / 23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3% / 23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latin typeface="+mn-lt"/>
                          <a:ea typeface="Verdana" panose="020B0604030504040204" pitchFamily="34" charset="0"/>
                        </a:rPr>
                        <a:t>23% 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837662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orth Carolina </a:t>
            </a:r>
            <a:r>
              <a:rPr lang="en-US" sz="2800" dirty="0">
                <a:solidFill>
                  <a:schemeClr val="tx1"/>
                </a:solidFill>
              </a:rPr>
              <a:t>– Region 8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48817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BD0009-2D15-4E1E-A871-7D6AC17431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A56EF2E9-F095-40FB-8FF4-D149FA7E2A8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8371527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.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253557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orth Dakot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68914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0053F5-5E66-4308-8413-F1C1BCEF6D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1A24EF40-0190-4D0C-9808-2B8848D916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3042433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117087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Ohio </a:t>
            </a:r>
            <a:r>
              <a:rPr lang="en-US" sz="2800" dirty="0">
                <a:solidFill>
                  <a:schemeClr val="tx1"/>
                </a:solidFill>
              </a:rPr>
              <a:t>– Region 1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48817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2A1213-3E49-4F4D-896D-8484856E64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4D1AF6E6-EAAA-4BAE-B8D7-CBDE2F1E61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94325572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044865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Oklahoma </a:t>
            </a:r>
            <a:r>
              <a:rPr lang="en-US" sz="2800" dirty="0">
                <a:solidFill>
                  <a:schemeClr val="tx1"/>
                </a:solidFill>
              </a:rPr>
              <a:t>– Region 2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68914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8B26F3-EA32-41FE-AA83-6DBB96A5DA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3458CC0C-9305-42F5-963C-D09A87C688C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8895407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9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588620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Oregon </a:t>
            </a:r>
            <a:r>
              <a:rPr lang="en-US" sz="2800" dirty="0">
                <a:solidFill>
                  <a:schemeClr val="tx1"/>
                </a:solidFill>
              </a:rPr>
              <a:t>– Region 3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5886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B62F63-5CEB-4A50-8FA2-656A058EA3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C1EDD3CF-00CB-479D-B6A1-7D30B931650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6729146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3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069374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Pennsylvania </a:t>
            </a:r>
            <a:r>
              <a:rPr lang="en-US" sz="2800" dirty="0">
                <a:solidFill>
                  <a:schemeClr val="tx1"/>
                </a:solidFill>
              </a:rPr>
              <a:t>– Region 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68914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0DB85E-A06C-429C-9FA4-3E81546C6D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AE66C391-2783-462D-83EA-77C5EABBBB4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52445538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9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96126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rkansas </a:t>
            </a:r>
            <a:r>
              <a:rPr lang="en-US" sz="2800" dirty="0">
                <a:solidFill>
                  <a:schemeClr val="tx1"/>
                </a:solidFill>
              </a:rPr>
              <a:t>– Region 19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68914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8A658EE-68BA-4D2E-A244-D85D311ED3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7151986F-081C-471A-B665-F762F725C9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6441899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9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7231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Rhode Island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5886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545F80-7D7A-44FB-9D05-0D0B310DE2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FF42FCC9-A69E-4763-9593-B28F456F57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3796568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03281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South Carolina </a:t>
            </a:r>
            <a:r>
              <a:rPr lang="en-US" sz="2800" dirty="0">
                <a:solidFill>
                  <a:schemeClr val="tx1"/>
                </a:solidFill>
              </a:rPr>
              <a:t>– Region 9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5886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AE5833A-FC31-4428-B28C-58EEC04B9D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BFB9ED55-EF82-4493-B222-7E183C4E3BD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2801299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3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015871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South Dakot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48817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98A24A-F226-4775-AF0E-E911D6C512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9061425-ACC9-4061-86D8-20EB406DCA7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5796740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40999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Tennessee </a:t>
            </a:r>
            <a:r>
              <a:rPr lang="en-US" sz="2800" dirty="0">
                <a:solidFill>
                  <a:schemeClr val="tx1"/>
                </a:solidFill>
              </a:rPr>
              <a:t>– Region 1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48817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A6CA6C-5228-4086-AB72-E9DACB207C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E852E7E1-AE82-4B26-BACE-8AA798CDC9B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8529409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2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99187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Texas </a:t>
            </a:r>
            <a:r>
              <a:rPr lang="en-US" sz="2800" dirty="0">
                <a:solidFill>
                  <a:schemeClr val="tx1"/>
                </a:solidFill>
              </a:rPr>
              <a:t>– Region 2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2872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141DC9-7C38-4A1E-B10B-A052415A06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9F28971E-DFE3-42A1-AB4A-D0D4B4B09A3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34897548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9.8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478872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Utah </a:t>
            </a:r>
            <a:r>
              <a:rPr lang="en-US" sz="2800" dirty="0">
                <a:solidFill>
                  <a:schemeClr val="tx1"/>
                </a:solidFill>
              </a:rPr>
              <a:t>– Region 3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2872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9593A1-A2CA-48BE-9220-B40246149A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E220C183-A161-4396-9D8B-F95B03E1B9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7757718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9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452166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Vermont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38769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E680DA-7684-4760-A903-54B2058A0E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E90DFA40-E589-4CAF-BAFC-9777D434A2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3613225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79479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Virginia </a:t>
            </a:r>
            <a:r>
              <a:rPr lang="en-US" sz="2800" dirty="0">
                <a:solidFill>
                  <a:schemeClr val="tx1"/>
                </a:solidFill>
              </a:rPr>
              <a:t>– Region 7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5886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E7AFBCB-67CA-43C1-A1DB-4F37CB9956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503B7E71-77E4-4449-968F-C38B6D4084F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6412482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5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379813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ashington </a:t>
            </a:r>
            <a:r>
              <a:rPr lang="en-US" sz="2800" dirty="0">
                <a:solidFill>
                  <a:schemeClr val="tx1"/>
                </a:solidFill>
              </a:rPr>
              <a:t>– Region 3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38769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A79F6E-31FA-4D63-8EBA-542E708E22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15425414-5FC1-48FD-BE84-06551C01D79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0008592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3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5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370386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est Virginia </a:t>
            </a:r>
            <a:r>
              <a:rPr lang="en-US" sz="2800" dirty="0">
                <a:solidFill>
                  <a:schemeClr val="tx1"/>
                </a:solidFill>
              </a:rPr>
              <a:t>– Region 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5886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355655-2DB0-4E8C-B0BF-82D993DAE3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03E58162-7017-4859-8A5D-4464153662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4243468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9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24529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California </a:t>
            </a:r>
            <a:r>
              <a:rPr lang="en-US" sz="2800" dirty="0">
                <a:solidFill>
                  <a:schemeClr val="tx1"/>
                </a:solidFill>
              </a:rPr>
              <a:t>– Region 3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5886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E08C91E5-446B-46EA-8002-39C3212370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726711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8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60173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isconsin </a:t>
            </a:r>
            <a:r>
              <a:rPr lang="en-US" sz="2800" dirty="0">
                <a:solidFill>
                  <a:schemeClr val="tx1"/>
                </a:solidFill>
              </a:rPr>
              <a:t>– Region 1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48817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F6B4255-0F38-475D-A3A3-971960E563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B7BF4E82-6E85-4777-98BE-F7F09958046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5336568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9.8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155258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yoming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40797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72B954-67ED-4BC4-8DC2-ED45C30C63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E47361BD-2BA0-4709-AC43-72AF24D412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0355574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90732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Colorado </a:t>
            </a:r>
            <a:r>
              <a:rPr lang="en-US" sz="2800" dirty="0">
                <a:solidFill>
                  <a:schemeClr val="tx1"/>
                </a:solidFill>
              </a:rPr>
              <a:t>– Region 27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5886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ED6D02DD-B103-44BA-8E4A-EEFA2EC2EDD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8961336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20.1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11345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Connecticut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68914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23BAE2-CF9C-4E58-BBA1-C41AE9927A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55EF58FA-529C-4E7D-8025-30E74F98741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5152258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78980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Delaware </a:t>
            </a:r>
            <a:r>
              <a:rPr lang="en-US" sz="2800" dirty="0">
                <a:solidFill>
                  <a:schemeClr val="tx1"/>
                </a:solidFill>
              </a:rPr>
              <a:t>– Region 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68914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FA79F1-F3E4-4D5B-8959-3D5820E9F9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0304318F-8BF1-417E-9B1D-2880B43A69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3401653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2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20578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SmartSaver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District of Columbia </a:t>
            </a:r>
            <a:r>
              <a:rPr lang="en-US" sz="2800" dirty="0">
                <a:solidFill>
                  <a:schemeClr val="tx1"/>
                </a:solidFill>
              </a:rPr>
              <a:t>– Region 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2048817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949B4F-A61F-4B41-9FD6-971DF4E3DD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96F10754-A67A-4DCF-A803-510979550D1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6902263"/>
              </p:ext>
            </p:extLst>
          </p:nvPr>
        </p:nvGraphicFramePr>
        <p:xfrm>
          <a:off x="703908" y="1015999"/>
          <a:ext cx="972917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6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424523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434885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94070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5654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SilverScript SmartSav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3715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2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1847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Annual Deductibl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0 deductible on Tier 1 drugs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+mn-cs"/>
                        </a:rPr>
                        <a:t>$280 deductible applies to drug Tiers 2-5 in every state</a:t>
                      </a:r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Initial Coverage (IC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ea typeface="Verdana" panose="020B0604030504040204" pitchFamily="34" charset="0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5 / $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 / $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$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/ 24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4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/ 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50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29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19621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6559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tna_PPT_EVERYDAY_Template">
  <a:themeElements>
    <a:clrScheme name="Custom 9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563D82"/>
      </a:accent1>
      <a:accent2>
        <a:srgbClr val="7D3F98"/>
      </a:accent2>
      <a:accent3>
        <a:srgbClr val="B18CC1"/>
      </a:accent3>
      <a:accent4>
        <a:srgbClr val="B9AFD6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smtClean="0">
            <a:solidFill>
              <a:schemeClr val="tx2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07</TotalTime>
  <Words>11436</Words>
  <Application>Microsoft Office PowerPoint</Application>
  <PresentationFormat>Widescreen</PresentationFormat>
  <Paragraphs>2346</Paragraphs>
  <Slides>5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56" baseType="lpstr">
      <vt:lpstr>Arial</vt:lpstr>
      <vt:lpstr>Lucida Grande</vt:lpstr>
      <vt:lpstr>Open Sans</vt:lpstr>
      <vt:lpstr>Aetna_PPT_EVERYDAY_Template</vt:lpstr>
      <vt:lpstr>think-cell Slide</vt:lpstr>
      <vt:lpstr>2024 SilverScript SmartSaver PDP Design Alabama – Region 12</vt:lpstr>
      <vt:lpstr>2024 SilverScript SmartSaver PDP Design Alaska – Region 34</vt:lpstr>
      <vt:lpstr>2024 SilverScript SmartSaver PDP Design Arizona – Region 28</vt:lpstr>
      <vt:lpstr>2024 SilverScript SmartSaver PDP Design Arkansas – Region 19</vt:lpstr>
      <vt:lpstr>2024 SilverScript SmartSaver PDP Design California – Region 32</vt:lpstr>
      <vt:lpstr>2024 SilverScript SmartSaver PDP Design Colorado – Region 27</vt:lpstr>
      <vt:lpstr>2024 SilverScript SmartSaver PDP Design Connecticut – Region 2</vt:lpstr>
      <vt:lpstr>2024 SilverScript SmartSaver PDP Design Delaware – Region 5</vt:lpstr>
      <vt:lpstr>2024 SilverScript SmartSaver PDP Design District of Columbia – Region 5</vt:lpstr>
      <vt:lpstr>2024 SilverScript SmartSaver PDP Design Florida – Region 11</vt:lpstr>
      <vt:lpstr>2024 SilverScript SmartSaver PDP Design Georgia – Region 10</vt:lpstr>
      <vt:lpstr>2024 SilverScript SmartSaver PDP Design Hawaii – Region 33</vt:lpstr>
      <vt:lpstr>2024 SilverScript SmartSaver PDP Design Idaho – Region 31</vt:lpstr>
      <vt:lpstr>2024 SilverScript SmartSaver PDP Design Illinois – Region 17</vt:lpstr>
      <vt:lpstr>2024 SilverScript SmartSaver PDP Design Indiana – Region 15</vt:lpstr>
      <vt:lpstr>2024 SilverScript SmartSaver PDP Design Iowa – Region 25</vt:lpstr>
      <vt:lpstr>2024 SilverScript SmartSaver PDP Design Kansas – Region 24</vt:lpstr>
      <vt:lpstr>2024 SilverScript SmartSaver PDP Design Kentucky – Region 15</vt:lpstr>
      <vt:lpstr>2024 SilverScript SmartSaver PDP Design Louisiana – Region 21</vt:lpstr>
      <vt:lpstr>2024 SilverScript SmartSaver PDP Design Maine – Region 1</vt:lpstr>
      <vt:lpstr>2024 SilverScript SmartSaver PDP Design Maryland – Region 5</vt:lpstr>
      <vt:lpstr>2024 SilverScript SmartSaver PDP Design Massachusetts – Region 2</vt:lpstr>
      <vt:lpstr>2024 SilverScript SmartSaver PDP Design Michigan – Region 13</vt:lpstr>
      <vt:lpstr>2024 SilverScript SmartSaver PDP Design Minnesota – Region 25</vt:lpstr>
      <vt:lpstr>2024 SilverScript SmartSaver PDP Design Mississippi – Region 20</vt:lpstr>
      <vt:lpstr>2024 SilverScript SmartSaver PDP Design Missouri– Region 18</vt:lpstr>
      <vt:lpstr>2024 SilverScript SmartSaver PDP Design Montana – Region 25</vt:lpstr>
      <vt:lpstr>2024 SilverScript SmartSaver PDP Design Nebraska – Region 25</vt:lpstr>
      <vt:lpstr>2024 SilverScript SmartSaver PDP Design Nevada – Region 29</vt:lpstr>
      <vt:lpstr>2024 SilverScript SmartSaver PDP Design New Hampshire – Region 1</vt:lpstr>
      <vt:lpstr>2024 SilverScript SmartSaver PDP Design New Jersey – Region 4</vt:lpstr>
      <vt:lpstr>2024 SilverScript SmartSaver PDP Design New Mexico – Region 26</vt:lpstr>
      <vt:lpstr>2024 SilverScript SmartSaver PDP Design New York – Region 3</vt:lpstr>
      <vt:lpstr>2024 SilverScript SmartSaver PDP Design North Carolina – Region 8</vt:lpstr>
      <vt:lpstr>2024 SilverScript SmartSaver PDP Design North Dakota – Region 25</vt:lpstr>
      <vt:lpstr>2024 SilverScript SmartSaver PDP Design Ohio – Region 14</vt:lpstr>
      <vt:lpstr>2024 SilverScript SmartSaver PDP Design Oklahoma – Region 23</vt:lpstr>
      <vt:lpstr>2024 SilverScript SmartSaver PDP Design Oregon – Region 30</vt:lpstr>
      <vt:lpstr>2024 SilverScript SmartSaver PDP Design Pennsylvania – Region 6</vt:lpstr>
      <vt:lpstr>2024 SilverScript SmartSaver PDP Design Rhode Island – Region 2</vt:lpstr>
      <vt:lpstr>2024 SilverScript SmartSaver PDP Design South Carolina – Region 9</vt:lpstr>
      <vt:lpstr>2024 SilverScript SmartSaver PDP Design South Dakota – Region 25</vt:lpstr>
      <vt:lpstr>2024 SilverScript SmartSaver PDP Design Tennessee – Region 12</vt:lpstr>
      <vt:lpstr>2024 SilverScript SmartSaver PDP Design Texas – Region 22</vt:lpstr>
      <vt:lpstr>2024 SilverScript SmartSaver PDP Design Utah – Region 31</vt:lpstr>
      <vt:lpstr>2024 SilverScript SmartSaver PDP Design Vermont – Region 2</vt:lpstr>
      <vt:lpstr>2024 SilverScript SmartSaver PDP Design Virginia – Region 7</vt:lpstr>
      <vt:lpstr>2024 SilverScript SmartSaver PDP Design Washington – Region 30</vt:lpstr>
      <vt:lpstr>2024 SilverScript SmartSaver PDP Design West Virginia – Region 6</vt:lpstr>
      <vt:lpstr>2024 SilverScript SmartSaver PDP Design Wisconsin – Region 16</vt:lpstr>
      <vt:lpstr>2024 SilverScript SmartSaver PDP Design Wyoming – Region 25</vt:lpstr>
    </vt:vector>
  </TitlesOfParts>
  <Company>CVS Healt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1 SilverScript SmartRx PDP Design State - Region</dc:title>
  <dc:creator>Pietralczyk, Rene</dc:creator>
  <cp:lastModifiedBy>Kristoff, Angel T</cp:lastModifiedBy>
  <cp:revision>46</cp:revision>
  <dcterms:created xsi:type="dcterms:W3CDTF">2020-07-23T16:48:32Z</dcterms:created>
  <dcterms:modified xsi:type="dcterms:W3CDTF">2023-08-24T17:4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7599526-06ca-49cc-9fa9-5307800a949a_Enabled">
    <vt:lpwstr>true</vt:lpwstr>
  </property>
  <property fmtid="{D5CDD505-2E9C-101B-9397-08002B2CF9AE}" pid="3" name="MSIP_Label_67599526-06ca-49cc-9fa9-5307800a949a_SetDate">
    <vt:lpwstr>2022-07-22T15:45:44Z</vt:lpwstr>
  </property>
  <property fmtid="{D5CDD505-2E9C-101B-9397-08002B2CF9AE}" pid="4" name="MSIP_Label_67599526-06ca-49cc-9fa9-5307800a949a_Method">
    <vt:lpwstr>Standard</vt:lpwstr>
  </property>
  <property fmtid="{D5CDD505-2E9C-101B-9397-08002B2CF9AE}" pid="5" name="MSIP_Label_67599526-06ca-49cc-9fa9-5307800a949a_Name">
    <vt:lpwstr>67599526-06ca-49cc-9fa9-5307800a949a</vt:lpwstr>
  </property>
  <property fmtid="{D5CDD505-2E9C-101B-9397-08002B2CF9AE}" pid="6" name="MSIP_Label_67599526-06ca-49cc-9fa9-5307800a949a_SiteId">
    <vt:lpwstr>fabb61b8-3afe-4e75-b934-a47f782b8cd7</vt:lpwstr>
  </property>
  <property fmtid="{D5CDD505-2E9C-101B-9397-08002B2CF9AE}" pid="7" name="MSIP_Label_67599526-06ca-49cc-9fa9-5307800a949a_ActionId">
    <vt:lpwstr>f7002589-4ad2-49af-8e36-f8da913e3be9</vt:lpwstr>
  </property>
  <property fmtid="{D5CDD505-2E9C-101B-9397-08002B2CF9AE}" pid="8" name="MSIP_Label_67599526-06ca-49cc-9fa9-5307800a949a_ContentBits">
    <vt:lpwstr>0</vt:lpwstr>
  </property>
</Properties>
</file>